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B9C116-16DD-4E1C-911B-97B07922A4E2}" v="49" dt="2023-03-15T23:22:23.9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6" d="100"/>
          <a:sy n="116" d="100"/>
        </p:scale>
        <p:origin x="120" y="58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2B9C116-16DD-4E1C-911B-97B07922A4E2}"/>
    <pc:docChg chg="modSld">
      <pc:chgData name="Roberto Gallardo" userId="49a044883f185952" providerId="LiveId" clId="{F2B9C116-16DD-4E1C-911B-97B07922A4E2}" dt="2023-03-15T23:22:41.321" v="181" actId="1076"/>
      <pc:docMkLst>
        <pc:docMk/>
      </pc:docMkLst>
      <pc:sldChg chg="addSp modSp mod">
        <pc:chgData name="Roberto Gallardo" userId="49a044883f185952" providerId="LiveId" clId="{F2B9C116-16DD-4E1C-911B-97B07922A4E2}" dt="2023-03-15T23:17:50.053" v="13" actId="1076"/>
        <pc:sldMkLst>
          <pc:docMk/>
          <pc:sldMk cId="1418533539" sldId="271"/>
        </pc:sldMkLst>
        <pc:picChg chg="add mod">
          <ac:chgData name="Roberto Gallardo" userId="49a044883f185952" providerId="LiveId" clId="{F2B9C116-16DD-4E1C-911B-97B07922A4E2}" dt="2023-03-15T23:17:50.053" v="13" actId="1076"/>
          <ac:picMkLst>
            <pc:docMk/>
            <pc:sldMk cId="1418533539" sldId="271"/>
            <ac:picMk id="6" creationId="{4D8FEE3B-7FEB-71C1-DA42-916C1A67ECF8}"/>
          </ac:picMkLst>
        </pc:picChg>
      </pc:sldChg>
      <pc:sldChg chg="addSp modSp mod">
        <pc:chgData name="Roberto Gallardo" userId="49a044883f185952" providerId="LiveId" clId="{F2B9C116-16DD-4E1C-911B-97B07922A4E2}" dt="2023-03-15T23:19:29.294" v="68" actId="1076"/>
        <pc:sldMkLst>
          <pc:docMk/>
          <pc:sldMk cId="2124848710" sldId="281"/>
        </pc:sldMkLst>
        <pc:picChg chg="add mod">
          <ac:chgData name="Roberto Gallardo" userId="49a044883f185952" providerId="LiveId" clId="{F2B9C116-16DD-4E1C-911B-97B07922A4E2}" dt="2023-03-15T23:19:29.294" v="68" actId="1076"/>
          <ac:picMkLst>
            <pc:docMk/>
            <pc:sldMk cId="2124848710" sldId="281"/>
            <ac:picMk id="6" creationId="{D93447A5-CDD9-ED13-7387-D3E8B9186CDB}"/>
          </ac:picMkLst>
        </pc:picChg>
      </pc:sldChg>
      <pc:sldChg chg="addSp modSp mod">
        <pc:chgData name="Roberto Gallardo" userId="49a044883f185952" providerId="LiveId" clId="{F2B9C116-16DD-4E1C-911B-97B07922A4E2}" dt="2023-03-15T23:19:43.753" v="77" actId="1076"/>
        <pc:sldMkLst>
          <pc:docMk/>
          <pc:sldMk cId="2028175529" sldId="282"/>
        </pc:sldMkLst>
        <pc:picChg chg="add mod">
          <ac:chgData name="Roberto Gallardo" userId="49a044883f185952" providerId="LiveId" clId="{F2B9C116-16DD-4E1C-911B-97B07922A4E2}" dt="2023-03-15T23:19:43.753" v="77" actId="1076"/>
          <ac:picMkLst>
            <pc:docMk/>
            <pc:sldMk cId="2028175529" sldId="282"/>
            <ac:picMk id="7" creationId="{04D073DD-B10A-5709-C380-47C090BDFE2A}"/>
          </ac:picMkLst>
        </pc:picChg>
      </pc:sldChg>
      <pc:sldChg chg="addSp modSp mod">
        <pc:chgData name="Roberto Gallardo" userId="49a044883f185952" providerId="LiveId" clId="{F2B9C116-16DD-4E1C-911B-97B07922A4E2}" dt="2023-03-15T23:20:00.112" v="87" actId="1076"/>
        <pc:sldMkLst>
          <pc:docMk/>
          <pc:sldMk cId="1326517747" sldId="283"/>
        </pc:sldMkLst>
        <pc:picChg chg="add mod">
          <ac:chgData name="Roberto Gallardo" userId="49a044883f185952" providerId="LiveId" clId="{F2B9C116-16DD-4E1C-911B-97B07922A4E2}" dt="2023-03-15T23:20:00.112" v="87" actId="1076"/>
          <ac:picMkLst>
            <pc:docMk/>
            <pc:sldMk cId="1326517747" sldId="283"/>
            <ac:picMk id="7" creationId="{5AA1A57C-F30D-8823-89D0-B32BD7B8624A}"/>
          </ac:picMkLst>
        </pc:picChg>
      </pc:sldChg>
      <pc:sldChg chg="addSp modSp mod">
        <pc:chgData name="Roberto Gallardo" userId="49a044883f185952" providerId="LiveId" clId="{F2B9C116-16DD-4E1C-911B-97B07922A4E2}" dt="2023-03-15T23:20:18.953" v="96" actId="1076"/>
        <pc:sldMkLst>
          <pc:docMk/>
          <pc:sldMk cId="783739251" sldId="284"/>
        </pc:sldMkLst>
        <pc:picChg chg="add mod">
          <ac:chgData name="Roberto Gallardo" userId="49a044883f185952" providerId="LiveId" clId="{F2B9C116-16DD-4E1C-911B-97B07922A4E2}" dt="2023-03-15T23:20:18.953" v="96" actId="1076"/>
          <ac:picMkLst>
            <pc:docMk/>
            <pc:sldMk cId="783739251" sldId="284"/>
            <ac:picMk id="7" creationId="{2C07A4DD-E48C-9090-C82E-2DC98975AECE}"/>
          </ac:picMkLst>
        </pc:picChg>
      </pc:sldChg>
      <pc:sldChg chg="addSp modSp mod">
        <pc:chgData name="Roberto Gallardo" userId="49a044883f185952" providerId="LiveId" clId="{F2B9C116-16DD-4E1C-911B-97B07922A4E2}" dt="2023-03-15T23:20:31.025" v="104" actId="1076"/>
        <pc:sldMkLst>
          <pc:docMk/>
          <pc:sldMk cId="1676122233" sldId="285"/>
        </pc:sldMkLst>
        <pc:picChg chg="add mod">
          <ac:chgData name="Roberto Gallardo" userId="49a044883f185952" providerId="LiveId" clId="{F2B9C116-16DD-4E1C-911B-97B07922A4E2}" dt="2023-03-15T23:20:31.025" v="104" actId="1076"/>
          <ac:picMkLst>
            <pc:docMk/>
            <pc:sldMk cId="1676122233" sldId="285"/>
            <ac:picMk id="7" creationId="{6E22FF40-F654-F8AD-886C-3411500E3D15}"/>
          </ac:picMkLst>
        </pc:picChg>
      </pc:sldChg>
      <pc:sldChg chg="addSp modSp mod">
        <pc:chgData name="Roberto Gallardo" userId="49a044883f185952" providerId="LiveId" clId="{F2B9C116-16DD-4E1C-911B-97B07922A4E2}" dt="2023-03-15T23:20:45.336" v="112" actId="1076"/>
        <pc:sldMkLst>
          <pc:docMk/>
          <pc:sldMk cId="3100398757" sldId="286"/>
        </pc:sldMkLst>
        <pc:picChg chg="add mod">
          <ac:chgData name="Roberto Gallardo" userId="49a044883f185952" providerId="LiveId" clId="{F2B9C116-16DD-4E1C-911B-97B07922A4E2}" dt="2023-03-15T23:20:45.336" v="112" actId="1076"/>
          <ac:picMkLst>
            <pc:docMk/>
            <pc:sldMk cId="3100398757" sldId="286"/>
            <ac:picMk id="7" creationId="{B0941894-8498-FBF6-CEFE-6E06B32DE902}"/>
          </ac:picMkLst>
        </pc:picChg>
      </pc:sldChg>
      <pc:sldChg chg="addSp modSp mod">
        <pc:chgData name="Roberto Gallardo" userId="49a044883f185952" providerId="LiveId" clId="{F2B9C116-16DD-4E1C-911B-97B07922A4E2}" dt="2023-03-15T23:20:58.606" v="121" actId="1076"/>
        <pc:sldMkLst>
          <pc:docMk/>
          <pc:sldMk cId="1546475425" sldId="287"/>
        </pc:sldMkLst>
        <pc:picChg chg="add mod">
          <ac:chgData name="Roberto Gallardo" userId="49a044883f185952" providerId="LiveId" clId="{F2B9C116-16DD-4E1C-911B-97B07922A4E2}" dt="2023-03-15T23:20:58.606" v="121" actId="1076"/>
          <ac:picMkLst>
            <pc:docMk/>
            <pc:sldMk cId="1546475425" sldId="287"/>
            <ac:picMk id="7" creationId="{83B95E13-7C9D-999B-D665-5A05B895B310}"/>
          </ac:picMkLst>
        </pc:picChg>
      </pc:sldChg>
      <pc:sldChg chg="addSp modSp mod">
        <pc:chgData name="Roberto Gallardo" userId="49a044883f185952" providerId="LiveId" clId="{F2B9C116-16DD-4E1C-911B-97B07922A4E2}" dt="2023-03-15T23:21:29.094" v="141" actId="1076"/>
        <pc:sldMkLst>
          <pc:docMk/>
          <pc:sldMk cId="1380517306" sldId="288"/>
        </pc:sldMkLst>
        <pc:picChg chg="add mod">
          <ac:chgData name="Roberto Gallardo" userId="49a044883f185952" providerId="LiveId" clId="{F2B9C116-16DD-4E1C-911B-97B07922A4E2}" dt="2023-03-15T23:21:29.094" v="141" actId="1076"/>
          <ac:picMkLst>
            <pc:docMk/>
            <pc:sldMk cId="1380517306" sldId="288"/>
            <ac:picMk id="7" creationId="{A2469BDA-D4FB-E454-D80A-A6DE1FAC3440}"/>
          </ac:picMkLst>
        </pc:picChg>
      </pc:sldChg>
      <pc:sldChg chg="addSp modSp mod">
        <pc:chgData name="Roberto Gallardo" userId="49a044883f185952" providerId="LiveId" clId="{F2B9C116-16DD-4E1C-911B-97B07922A4E2}" dt="2023-03-15T23:21:43.789" v="151" actId="1076"/>
        <pc:sldMkLst>
          <pc:docMk/>
          <pc:sldMk cId="1388671151" sldId="289"/>
        </pc:sldMkLst>
        <pc:picChg chg="add mod">
          <ac:chgData name="Roberto Gallardo" userId="49a044883f185952" providerId="LiveId" clId="{F2B9C116-16DD-4E1C-911B-97B07922A4E2}" dt="2023-03-15T23:21:43.789" v="151" actId="1076"/>
          <ac:picMkLst>
            <pc:docMk/>
            <pc:sldMk cId="1388671151" sldId="289"/>
            <ac:picMk id="7" creationId="{31CF392B-FF0E-E102-B7A3-66F27F6CE474}"/>
          </ac:picMkLst>
        </pc:picChg>
      </pc:sldChg>
      <pc:sldChg chg="addSp modSp mod">
        <pc:chgData name="Roberto Gallardo" userId="49a044883f185952" providerId="LiveId" clId="{F2B9C116-16DD-4E1C-911B-97B07922A4E2}" dt="2023-03-15T23:22:13.950" v="170" actId="1076"/>
        <pc:sldMkLst>
          <pc:docMk/>
          <pc:sldMk cId="2355376039" sldId="290"/>
        </pc:sldMkLst>
        <pc:picChg chg="add mod">
          <ac:chgData name="Roberto Gallardo" userId="49a044883f185952" providerId="LiveId" clId="{F2B9C116-16DD-4E1C-911B-97B07922A4E2}" dt="2023-03-15T23:22:13.950" v="170" actId="1076"/>
          <ac:picMkLst>
            <pc:docMk/>
            <pc:sldMk cId="2355376039" sldId="290"/>
            <ac:picMk id="8" creationId="{807D6AFD-11EE-BBC5-B65D-44A697B520AC}"/>
          </ac:picMkLst>
        </pc:picChg>
      </pc:sldChg>
      <pc:sldChg chg="addSp modSp mod">
        <pc:chgData name="Roberto Gallardo" userId="49a044883f185952" providerId="LiveId" clId="{F2B9C116-16DD-4E1C-911B-97B07922A4E2}" dt="2023-03-15T23:22:41.321" v="181" actId="1076"/>
        <pc:sldMkLst>
          <pc:docMk/>
          <pc:sldMk cId="3757257295" sldId="291"/>
        </pc:sldMkLst>
        <pc:picChg chg="add mod">
          <ac:chgData name="Roberto Gallardo" userId="49a044883f185952" providerId="LiveId" clId="{F2B9C116-16DD-4E1C-911B-97B07922A4E2}" dt="2023-03-15T23:22:41.321" v="181" actId="1076"/>
          <ac:picMkLst>
            <pc:docMk/>
            <pc:sldMk cId="3757257295" sldId="291"/>
            <ac:picMk id="8" creationId="{B30A3DCD-E0E3-2812-9B9B-BE47584E4FDE}"/>
          </ac:picMkLst>
        </pc:picChg>
      </pc:sldChg>
      <pc:sldChg chg="addSp modSp mod">
        <pc:chgData name="Roberto Gallardo" userId="49a044883f185952" providerId="LiveId" clId="{F2B9C116-16DD-4E1C-911B-97B07922A4E2}" dt="2023-03-15T23:21:12.413" v="130" actId="1076"/>
        <pc:sldMkLst>
          <pc:docMk/>
          <pc:sldMk cId="1259856727" sldId="292"/>
        </pc:sldMkLst>
        <pc:picChg chg="add mod">
          <ac:chgData name="Roberto Gallardo" userId="49a044883f185952" providerId="LiveId" clId="{F2B9C116-16DD-4E1C-911B-97B07922A4E2}" dt="2023-03-15T23:21:12.413" v="130" actId="1076"/>
          <ac:picMkLst>
            <pc:docMk/>
            <pc:sldMk cId="1259856727" sldId="292"/>
            <ac:picMk id="7" creationId="{EF6C87EB-5903-F8BD-1758-628168F15B76}"/>
          </ac:picMkLst>
        </pc:picChg>
      </pc:sldChg>
      <pc:sldChg chg="addSp modSp mod">
        <pc:chgData name="Roberto Gallardo" userId="49a044883f185952" providerId="LiveId" clId="{F2B9C116-16DD-4E1C-911B-97B07922A4E2}" dt="2023-03-15T23:19:10.405" v="56" actId="1076"/>
        <pc:sldMkLst>
          <pc:docMk/>
          <pc:sldMk cId="3324519687" sldId="293"/>
        </pc:sldMkLst>
        <pc:picChg chg="add mod">
          <ac:chgData name="Roberto Gallardo" userId="49a044883f185952" providerId="LiveId" clId="{F2B9C116-16DD-4E1C-911B-97B07922A4E2}" dt="2023-03-15T23:19:10.405" v="56" actId="1076"/>
          <ac:picMkLst>
            <pc:docMk/>
            <pc:sldMk cId="3324519687" sldId="293"/>
            <ac:picMk id="7" creationId="{2007DE88-DFB8-9E22-CFDB-79E072F70375}"/>
          </ac:picMkLst>
        </pc:picChg>
      </pc:sldChg>
      <pc:sldChg chg="addSp modSp mod">
        <pc:chgData name="Roberto Gallardo" userId="49a044883f185952" providerId="LiveId" clId="{F2B9C116-16DD-4E1C-911B-97B07922A4E2}" dt="2023-03-15T23:18:37.356" v="38" actId="1076"/>
        <pc:sldMkLst>
          <pc:docMk/>
          <pc:sldMk cId="3256182630" sldId="295"/>
        </pc:sldMkLst>
        <pc:picChg chg="add mod">
          <ac:chgData name="Roberto Gallardo" userId="49a044883f185952" providerId="LiveId" clId="{F2B9C116-16DD-4E1C-911B-97B07922A4E2}" dt="2023-03-15T23:18:37.356" v="38" actId="1076"/>
          <ac:picMkLst>
            <pc:docMk/>
            <pc:sldMk cId="3256182630" sldId="295"/>
            <ac:picMk id="7" creationId="{4CE08FE3-BDBA-BF75-673E-1B6F7F42E968}"/>
          </ac:picMkLst>
        </pc:picChg>
      </pc:sldChg>
      <pc:sldChg chg="addSp modSp mod">
        <pc:chgData name="Roberto Gallardo" userId="49a044883f185952" providerId="LiveId" clId="{F2B9C116-16DD-4E1C-911B-97B07922A4E2}" dt="2023-03-15T23:18:51.997" v="47" actId="1076"/>
        <pc:sldMkLst>
          <pc:docMk/>
          <pc:sldMk cId="4057156843" sldId="296"/>
        </pc:sldMkLst>
        <pc:picChg chg="add mod">
          <ac:chgData name="Roberto Gallardo" userId="49a044883f185952" providerId="LiveId" clId="{F2B9C116-16DD-4E1C-911B-97B07922A4E2}" dt="2023-03-15T23:18:51.997" v="47" actId="1076"/>
          <ac:picMkLst>
            <pc:docMk/>
            <pc:sldMk cId="4057156843" sldId="296"/>
            <ac:picMk id="7" creationId="{8EDBCE32-8498-3D4D-4ED8-C05D81318E8F}"/>
          </ac:picMkLst>
        </pc:picChg>
      </pc:sldChg>
      <pc:sldChg chg="addSp modSp mod">
        <pc:chgData name="Roberto Gallardo" userId="49a044883f185952" providerId="LiveId" clId="{F2B9C116-16DD-4E1C-911B-97B07922A4E2}" dt="2023-03-15T23:18:21.589" v="28" actId="1076"/>
        <pc:sldMkLst>
          <pc:docMk/>
          <pc:sldMk cId="2080110827" sldId="297"/>
        </pc:sldMkLst>
        <pc:picChg chg="add mod">
          <ac:chgData name="Roberto Gallardo" userId="49a044883f185952" providerId="LiveId" clId="{F2B9C116-16DD-4E1C-911B-97B07922A4E2}" dt="2023-03-15T23:18:21.589" v="28" actId="1076"/>
          <ac:picMkLst>
            <pc:docMk/>
            <pc:sldMk cId="2080110827" sldId="297"/>
            <ac:picMk id="6" creationId="{DCE031C8-21AA-44AB-8C99-8696911A83B9}"/>
          </ac:picMkLst>
        </pc:picChg>
      </pc:sldChg>
      <pc:sldChg chg="addSp modSp mod">
        <pc:chgData name="Roberto Gallardo" userId="49a044883f185952" providerId="LiveId" clId="{F2B9C116-16DD-4E1C-911B-97B07922A4E2}" dt="2023-03-15T23:18:05.029" v="20" actId="1076"/>
        <pc:sldMkLst>
          <pc:docMk/>
          <pc:sldMk cId="1532666867" sldId="298"/>
        </pc:sldMkLst>
        <pc:picChg chg="add mod">
          <ac:chgData name="Roberto Gallardo" userId="49a044883f185952" providerId="LiveId" clId="{F2B9C116-16DD-4E1C-911B-97B07922A4E2}" dt="2023-03-15T23:18:05.029" v="20" actId="1076"/>
          <ac:picMkLst>
            <pc:docMk/>
            <pc:sldMk cId="1532666867" sldId="298"/>
            <ac:picMk id="6" creationId="{44CDCEE7-D13A-DA7D-1E08-54B59C8E25EC}"/>
          </ac:picMkLst>
        </pc:picChg>
      </pc:sldChg>
      <pc:sldChg chg="addSp modSp mod">
        <pc:chgData name="Roberto Gallardo" userId="49a044883f185952" providerId="LiveId" clId="{F2B9C116-16DD-4E1C-911B-97B07922A4E2}" dt="2023-03-15T23:21:59.078" v="160" actId="1076"/>
        <pc:sldMkLst>
          <pc:docMk/>
          <pc:sldMk cId="1951376777" sldId="299"/>
        </pc:sldMkLst>
        <pc:picChg chg="add mod">
          <ac:chgData name="Roberto Gallardo" userId="49a044883f185952" providerId="LiveId" clId="{F2B9C116-16DD-4E1C-911B-97B07922A4E2}" dt="2023-03-15T23:21:59.078" v="160" actId="1076"/>
          <ac:picMkLst>
            <pc:docMk/>
            <pc:sldMk cId="1951376777" sldId="299"/>
            <ac:picMk id="7" creationId="{D3578EA8-1379-31FC-19DB-3CDA5B15275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a:solidFill>
                  <a:schemeClr val="bg1"/>
                </a:solidFill>
              </a:rPr>
              <a:t>Haywood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5F0519E-3DFC-BFC3-F8C3-9D5259D5936A}"/>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79C6DB40-A011-76EC-9E4A-8A7DE304BAEA}"/>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D8FEE3B-7FEB-71C1-DA42-916C1A67EC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44CDCEE7-D13A-DA7D-1E08-54B59C8E25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CE031C8-21AA-44AB-8C99-8696911A83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8700"/>
            <a:ext cx="7602618"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317B96B-8120-BFA0-C5B5-CB1167A04889}"/>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4CE08FE3-BDBA-BF75-673E-1B6F7F42E9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9339"/>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66E5D8F-DBA1-3FDD-9D74-C72CF013E49C}"/>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8EDBCE32-8498-3D4D-4ED8-C05D81318E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9339"/>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6A269D68-5311-02B0-BA47-B26C84426904}"/>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2007DE88-DFB8-9E22-CFDB-79E072F703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18055A7-BB21-1902-E94F-97F57A8B83E3}"/>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D93447A5-CDD9-ED13-7387-D3E8B9186C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9451"/>
            <a:ext cx="6400799"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F68DC00-ABFE-9C67-B204-83816F73A092}"/>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04D073DD-B10A-5709-C380-47C090BDFE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3FFE21C-4EE3-DB73-C743-2A151019CC6F}"/>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AA1A57C-F30D-8823-89D0-B32BD7B862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6A9B33F-B11B-6083-A73D-D1A8D3F6BE8A}"/>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2C07A4DD-E48C-9090-C82E-2DC98975AE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46793EF-93A3-92FA-97A2-C02525A1F77D}"/>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6E22FF40-F654-F8AD-886C-3411500E3D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3" y="1408741"/>
            <a:ext cx="6394147" cy="452166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43C2C32-057D-5B04-02A9-881D0727D325}"/>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B0941894-8498-FBF6-CEFE-6E06B32DE9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0AF73E7-D160-E97B-695C-36D30E9F8B61}"/>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83B95E13-7C9D-999B-D665-5A05B895B3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657C81B-D2BB-08CD-1C07-5E74D461733A}"/>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EF6C87EB-5903-F8BD-1758-628168F15B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FC380BB-1E0C-F3E6-C25B-6DEA20104C49}"/>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A2469BDA-D4FB-E454-D80A-A6DE1FAC34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6E1F7E9-E213-A9E5-B6C1-E189D167D65D}"/>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31CF392B-FF0E-E102-B7A3-66F27F6CE4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9A568AD1-FCB3-C8D1-D465-2B4AB9B283CB}"/>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D3578EA8-1379-31FC-19DB-3CDA5B1527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5310E2F8-CC8D-A3D8-9C4A-834AAB602814}"/>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807D6AFD-11EE-BBC5-B65D-44A697B520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9339"/>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2A7AD175-D209-643A-42DF-F1FD7750FA1A}"/>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9EFDD4E2-1101-69C2-4CAA-8C91C31B32DE}"/>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B30A3DCD-E0E3-2812-9B9B-BE47584E4F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8BC9B0D0-95EF-C2E5-D5F5-0A93DD28EB28}"/>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4D6C695-B261-1A91-C5E4-76DA02818A80}"/>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BCA9168-95A9-F73E-5AEB-8DD114B9AD33}"/>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1987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743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66688" y="2505016"/>
            <a:ext cx="1198148" cy="2260558"/>
            <a:chOff x="10485745" y="2629753"/>
            <a:chExt cx="1198148" cy="226055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7583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903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62975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629753"/>
              <a:ext cx="0" cy="7460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68385"/>
              <a:ext cx="0" cy="62192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372993"/>
            <a:ext cx="1198148" cy="2379013"/>
            <a:chOff x="2775759" y="2165794"/>
            <a:chExt cx="1198148" cy="2379013"/>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5928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6579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65794"/>
              <a:ext cx="0" cy="79349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1840"/>
              <a:ext cx="0" cy="6929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67A31205-7DA3-3567-6011-58D7B9BD5B7A}"/>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6AE5AAC0-A700-3E8D-6A5D-ED28CBB96044}"/>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B8DAF1A-112C-415F-0D59-3177780376EF}"/>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E8D44CD-E52E-E88C-9053-887351A6D95D}"/>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43F92F5-2A97-1650-CC32-41A08A7130E6}"/>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323992D-233C-19CA-B4E1-7DE636E70C2E}"/>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AC5730D-65FE-D96B-455E-2948D70FEF56}"/>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E4A1910-38AE-EF81-F627-AA9D5002660C}"/>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45</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1</cp:revision>
  <dcterms:created xsi:type="dcterms:W3CDTF">2022-07-04T13:32:28Z</dcterms:created>
  <dcterms:modified xsi:type="dcterms:W3CDTF">2023-03-15T23:22:42Z</dcterms:modified>
</cp:coreProperties>
</file>